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www.infraware.co.kr/2012/infrawarePen" Target="docProps/infrawarePe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278" r:id="rId2"/>
    <p:sldId id="285" r:id="rId3"/>
    <p:sldId id="299" r:id="rId4"/>
    <p:sldId id="309" r:id="rId5"/>
    <p:sldId id="310" r:id="rId6"/>
    <p:sldId id="311" r:id="rId7"/>
    <p:sldId id="313" r:id="rId8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47" autoAdjust="0"/>
    <p:restoredTop sz="93155" autoAdjust="0"/>
  </p:normalViewPr>
  <p:slideViewPr>
    <p:cSldViewPr>
      <p:cViewPr varScale="1">
        <p:scale>
          <a:sx n="122" d="100"/>
          <a:sy n="122" d="100"/>
        </p:scale>
        <p:origin x="152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6"/>
        <p:guide pos="2265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6/1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6/1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4" rIns="95071" bIns="475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71" tIns="47534" rIns="95071" bIns="4753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63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9612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8758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5991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341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051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11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11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11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11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87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6/11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eneral Manager’s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257800"/>
            <a:ext cx="3352800" cy="762000"/>
          </a:xfrm>
        </p:spPr>
        <p:txBody>
          <a:bodyPr/>
          <a:lstStyle/>
          <a:p>
            <a:r>
              <a:rPr lang="en-US" sz="2000" dirty="0" smtClean="0"/>
              <a:t>June 11, 2018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Joint Meeting of the Fiscal and Management Control Board and MassDOT Boar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7992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8348472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Green Line Extension 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Commuter Rail special $10 weekend fare pilo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Red Line Mockup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Green Line Extension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7939" y="1488580"/>
            <a:ext cx="3951661" cy="45312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GLX Constructors, Design-Builder, continues to mobilize at Program Office in Somervil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hared program office currently staffed with 250 personnel focusing on project delivery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400" y="2057400"/>
            <a:ext cx="3896168" cy="29221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3600" y="4038600"/>
            <a:ext cx="1910341" cy="20681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9863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Green Line Extension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7939" y="1488580"/>
            <a:ext cx="3951661" cy="43788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Design efforts are under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Current focus is on alignment, drainage, retaining walls, power systems, viaduct desig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Field work includes soil sampling, utility location, and vegetation clearing along the right of 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Field work supports the ongoing design and future construction effor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3263" y="1453006"/>
            <a:ext cx="2590800" cy="2590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859" y="4201412"/>
            <a:ext cx="2959608" cy="20360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56590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Green Line Extension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7939" y="1488580"/>
            <a:ext cx="4261716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In addition to design and preliminary construction ongoing, the project team has focused on outreach and aware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The team has established a Community Working Group, which meets regular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Team continues building email distribution list, door-to-door </a:t>
            </a:r>
            <a:r>
              <a:rPr lang="en-US" sz="2000" dirty="0" err="1" smtClean="0">
                <a:solidFill>
                  <a:schemeClr val="tx1"/>
                </a:solidFill>
              </a:rPr>
              <a:t>flyering</a:t>
            </a:r>
            <a:r>
              <a:rPr lang="en-US" sz="2000" dirty="0" smtClean="0">
                <a:solidFill>
                  <a:schemeClr val="tx1"/>
                </a:solidFill>
              </a:rPr>
              <a:t>, routine website updates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2209800"/>
            <a:ext cx="2811421" cy="24024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8957" y="1510238"/>
            <a:ext cx="1270550" cy="39007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61368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Special $10 Summer Weekend Commuter Rail Fare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447800"/>
            <a:ext cx="4261716" cy="4438496"/>
          </a:xfrm>
        </p:spPr>
        <p:txBody>
          <a:bodyPr/>
          <a:lstStyle/>
          <a:p>
            <a:r>
              <a:rPr lang="en-US" sz="2000" dirty="0" smtClean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1764429"/>
            <a:ext cx="5905327" cy="38052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25069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Red Line Mockup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7939" y="1488580"/>
            <a:ext cx="3951661" cy="43788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Mockup on Red Line car has left CRRC plant in Changchun for Bost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Will be on display later this su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RL upgrades include replacing entire fleet of 218 vehicles, and purchasing 34 new c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RL/OL infrastructure major steps toward a system that is more robust, reliable, resili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371600"/>
            <a:ext cx="3283903" cy="24629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Content Placeholder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3899182"/>
            <a:ext cx="3055303" cy="22914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83462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cmpd="tri">
          <a:solidFill>
            <a:schemeClr val="tx1"/>
          </a:solidFill>
          <a:headEnd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17</TotalTime>
  <Pages>5</Pages>
  <Words>227</Words>
  <Characters>0</Characters>
  <Application>Microsoft Office PowerPoint</Application>
  <DocSecurity>0</DocSecurity>
  <PresentationFormat>On-screen Show (4:3)</PresentationFormat>
  <Lines>0</Lines>
  <Paragraphs>32</Paragraphs>
  <Slides>7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Verdana</vt:lpstr>
      <vt:lpstr>Presentation3</vt:lpstr>
      <vt:lpstr>General Manager’s Remarks</vt:lpstr>
      <vt:lpstr>Agenda </vt:lpstr>
      <vt:lpstr>Green Line Extension </vt:lpstr>
      <vt:lpstr>Green Line Extension </vt:lpstr>
      <vt:lpstr>Green Line Extension </vt:lpstr>
      <vt:lpstr>Special $10 Summer Weekend Commuter Rail Fare</vt:lpstr>
      <vt:lpstr>Red Line Mockup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Ciampa, Christine</cp:lastModifiedBy>
  <cp:revision>756</cp:revision>
  <cp:lastPrinted>2018-06-04T14:30:53Z</cp:lastPrinted>
  <dcterms:modified xsi:type="dcterms:W3CDTF">2018-06-11T15:32:11Z</dcterms:modified>
</cp:coreProperties>
</file>

<file path=docProps/infrawarePen.xml><?xml version="1.0" encoding="utf-8"?>
<InfrawarePenDraw xmlns="http://www.infraware.co.kr/2012/penmode"/>
</file>